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0" r:id="rId3"/>
    <p:sldId id="258" r:id="rId4"/>
    <p:sldId id="259" r:id="rId5"/>
    <p:sldId id="261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C1F448F-86F9-4731-A83D-96FCA7389CBB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12B4F69-D1A4-4078-9861-7D66613792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54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558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95ADA0-1B34-F092-92E1-161E4E16C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239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BBCA6-C6E5-4069-34F7-1690FDD11D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B19A61-B2E2-A9BE-7D68-381E4E267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610D5-99BE-A1D9-50E7-537FBF9D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87153-C0B2-B7BD-2616-FBD7549F7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5C970-D0D2-9C09-2F26-8A7BD9F8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4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365E6C-3202-4D5C-1F92-DB0377358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2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0DCE9A-46A2-F98E-5736-FB07F3540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5D4C1D-8EB7-0E7D-2652-61290CAEE5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7265C-FCA3-46BF-9CC2-7A3E20F48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A52405-206C-E426-95BF-A494BF743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D419A-9332-EF01-CF51-4DA8023D2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17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F8E016-609A-7099-466A-F34E2ADF3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BDC0B5-52A6-362B-911E-176710451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17163-05E7-7DA9-8AEB-1F2A5B422C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28B61-86F7-C962-0449-FEA9EE064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7FB81F-F188-EC94-CD1E-4D8F3A50E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2C7B9-AD53-A7FE-96E6-4D4521048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81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38ED86-F604-0008-F43B-3A74FF9F9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9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338AF6-69B5-DEF4-C001-B8DCE668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FC754-6632-EC40-75A3-A0F3D3DA2B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6F9DBF-23C5-C18B-6E72-854C83EF0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60A54-C8A7-CEAC-B2B6-8C043D4A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2038D-9A64-FFB4-B830-AFA3BF9C3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32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8A56CB8-3934-5C83-8FF2-7CEE0D247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9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D8436F-F20A-450E-C3B5-73F83A4F6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9FDAD-3944-0BEE-5B86-04F8892199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5B4AA-A7AB-04C5-038C-6963567A1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6E7B3-0CE3-9A9A-8915-FF7BF6D46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3EC1D-E0FC-122B-6054-0D7EAC1D8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41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EECDF3-A87B-9E28-F736-679084617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59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7914C-08BC-656D-A85B-325762EF3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DD265-06F5-310C-6A7F-7631F10D12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56F8A2-2E2B-88B0-D6BC-32A91377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C74B4-F996-8430-8A9C-619564D0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730B-7AAC-12CE-4CB6-220011DEC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6787C-CD05-55F4-932C-C38C86100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65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A47A5C-963F-D1DE-D2F7-E07DC6AE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34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F7EAA4-934B-1B9C-21DB-B223237A4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799E3-E1DB-DF8F-73CF-0BE0267C8F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5605E7-CBA8-9B98-C32A-EBA4D5FE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1CE9-8378-015E-5979-20308F32DD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7C18E-E3A4-7811-6810-43F777E3C0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B896C-23E1-F6CC-EA9D-62DD068B2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8FE2-2F0A-324E-05B6-ACC23DE39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9D2FE1-FA7A-EBC7-C7D9-3D009C14F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017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AAED76-E1CC-D6E9-FA9A-90A0D0F70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34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1AF6A-2E33-FA57-5889-A62DD65B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2F11A4-7101-B7AF-55CF-31361FD4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BB2524-F169-4AA2-AA5D-FFE1A7FD3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720AD-8359-E13B-91CB-1E8E380E7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93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33CD53-3C40-AC87-C939-92F102CC4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01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CDB22C-F793-0643-02D7-3DBB742AF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FCA139-F131-793D-72C3-5FB50B63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3088E0-F5D5-22B3-014F-3C1B17FCB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005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B4F67-2900-E1AA-369D-D1AFD066C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05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A9F7B3-FDC4-183F-515B-679D58939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29EE0-BBC4-0FC4-288E-E6C84C679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2E361-4F91-A4D8-B518-E9A9832C5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F42AEA-CB87-B64F-511A-B849F50AA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BF69C-62E4-CC5C-82B6-8FEC1334B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6EFFB-7DE4-E2E5-ECDB-AA2BFAB64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25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7F8A899-FA1A-6B50-D77E-469C3E2DC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84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19E476-14C5-2B56-8C6E-9837EAB91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4B907-1C19-984F-E56F-917BFDCFA8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7DD1-E7CC-651D-A4E1-A69A63F135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6FA8FE-0B03-15BD-8A96-0D29AD8DC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DF5B2-3E50-7DF2-52A1-08694B959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4DCE12-F5ED-24E7-37BC-84586F5D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44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4D98946-3384-60C8-122C-05A66DB4C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413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01EBB0-F2B7-422C-6A98-233C483C0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A378C-2B23-9C18-7851-2C2AA9135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8DC12-185E-B2B9-6675-EF7377721E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4FD71B-E960-4BE4-B463-A12BB7700A42}" type="datetimeFigureOut">
              <a:rPr lang="en-US" smtClean="0"/>
              <a:pPr/>
              <a:t>7/9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CDF23C-669E-ABAC-5240-9DF0CBC7D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27B6A-BA05-8337-DAE6-2A92C972F0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1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5.png"/><Relationship Id="rId18" Type="http://schemas.openxmlformats.org/officeDocument/2006/relationships/image" Target="../media/image10.png"/><Relationship Id="rId3" Type="http://schemas.openxmlformats.org/officeDocument/2006/relationships/tags" Target="../tags/tag17.xml"/><Relationship Id="rId21" Type="http://schemas.openxmlformats.org/officeDocument/2006/relationships/image" Target="../media/image13.png"/><Relationship Id="rId7" Type="http://schemas.openxmlformats.org/officeDocument/2006/relationships/tags" Target="../tags/tag21.xml"/><Relationship Id="rId12" Type="http://schemas.openxmlformats.org/officeDocument/2006/relationships/image" Target="../media/image1.emf"/><Relationship Id="rId17" Type="http://schemas.openxmlformats.org/officeDocument/2006/relationships/image" Target="../media/image9.png"/><Relationship Id="rId2" Type="http://schemas.openxmlformats.org/officeDocument/2006/relationships/tags" Target="../tags/tag16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9.xml"/><Relationship Id="rId15" Type="http://schemas.openxmlformats.org/officeDocument/2006/relationships/image" Target="../media/image7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1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6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42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6" y="2411425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/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5553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37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705439BC-3A99-BE9C-24F1-68A309F82EDE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1</a:t>
            </a:r>
          </a:p>
        </p:txBody>
      </p:sp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552688" y="6376708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28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4D0BD1B2-E47F-8AC7-B035-2720DE527CDB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2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near High-Temperature Initialization </a:t>
            </a:r>
            <a:endParaRPr lang="en-US" sz="3200" noProof="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6F1F6CC-B32D-EAE7-68D2-E7C98793A4B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70982" y="2395702"/>
            <a:ext cx="5260118" cy="704566"/>
          </a:xfrm>
          <a:prstGeom prst="rect">
            <a:avLst/>
          </a:prstGeom>
        </p:spPr>
      </p:pic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476059" y="1628049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8282400" y="2504372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476059" y="3859110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461334" y="3859109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870" y="3429000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75162" y="3317751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074" y="1651863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1476059" y="4844106"/>
            <a:ext cx="9759159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linearly approximate the (unnormalized) thermal state at high temperature,                   , 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241" y="5364296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4866" y="4883725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476058" y="5941790"/>
            <a:ext cx="8664639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with an MPO with bond dimension 5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200" y="5965632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4356" y="5974775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7118" y="6260897"/>
            <a:ext cx="91733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D4F4CA12-E33D-310F-20FF-D6F47D052E92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3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Halving temperature by squaring the state</a:t>
            </a:r>
            <a:endParaRPr lang="en-US" sz="3200" noProof="0" dirty="0"/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86541" y="1790621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3">
            <a:extLst>
              <a:ext uri="{FF2B5EF4-FFF2-40B4-BE49-F238E27FC236}">
                <a16:creationId xmlns:a16="http://schemas.microsoft.com/office/drawing/2014/main" id="{39B745FA-D5B2-29C1-3968-C733E40E8459}"/>
              </a:ext>
            </a:extLst>
          </p:cNvPr>
          <p:cNvSpPr txBox="1">
            <a:spLocks/>
          </p:cNvSpPr>
          <p:nvPr/>
        </p:nvSpPr>
        <p:spPr>
          <a:xfrm>
            <a:off x="2554625" y="1811123"/>
            <a:ext cx="8350834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ppose we have computed the thermal state         . Then we can compute the thermal state with double inverse temperature as</a:t>
            </a:r>
          </a:p>
        </p:txBody>
      </p:sp>
      <p:pic>
        <p:nvPicPr>
          <p:cNvPr id="8" name="Picture 7" descr="\documentclass{article}&#10;\usepackage{amsmath}&#10;\pagestyle{empty}&#10;\begin{document}&#10;&#10;$\rho(\beta)$&#10;&#10;&#10;\end{document}" title="IguanaTex Picture Display">
            <a:extLst>
              <a:ext uri="{FF2B5EF4-FFF2-40B4-BE49-F238E27FC236}">
                <a16:creationId xmlns:a16="http://schemas.microsoft.com/office/drawing/2014/main" id="{9BF7421C-66E9-7097-28DC-4537B05B45A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029" y="1854254"/>
            <a:ext cx="452571" cy="254476"/>
          </a:xfrm>
          <a:prstGeom prst="rect">
            <a:avLst/>
          </a:prstGeom>
        </p:spPr>
      </p:pic>
      <p:pic>
        <p:nvPicPr>
          <p:cNvPr id="11" name="Picture 10" descr="\documentclass{article}&#10;\usepackage{amsmath}&#10;\pagestyle{empty}&#10;\begin{document}&#10;&#10;$\rho(2 \beta) = \text{e}^{-2 \beta \hat{H}} = (\text{e}^{- \beta \hat{H}})^2 = \rho(\beta)^2$&#10;&#10;&#10;\end{document}" title="IguanaTex Picture Display">
            <a:extLst>
              <a:ext uri="{FF2B5EF4-FFF2-40B4-BE49-F238E27FC236}">
                <a16:creationId xmlns:a16="http://schemas.microsoft.com/office/drawing/2014/main" id="{DC667FC9-7209-7818-2D69-59B0FD6DABE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930" y="2602386"/>
            <a:ext cx="3774474" cy="324571"/>
          </a:xfrm>
          <a:prstGeom prst="rect">
            <a:avLst/>
          </a:prstGeom>
        </p:spPr>
      </p:pic>
      <p:sp>
        <p:nvSpPr>
          <p:cNvPr id="12" name="Untertitel 2 3">
            <a:extLst>
              <a:ext uri="{FF2B5EF4-FFF2-40B4-BE49-F238E27FC236}">
                <a16:creationId xmlns:a16="http://schemas.microsoft.com/office/drawing/2014/main" id="{F0145429-2611-E58B-002B-78C5763C06F6}"/>
              </a:ext>
            </a:extLst>
          </p:cNvPr>
          <p:cNvSpPr txBox="1">
            <a:spLocks/>
          </p:cNvSpPr>
          <p:nvPr/>
        </p:nvSpPr>
        <p:spPr>
          <a:xfrm>
            <a:off x="2548678" y="3209337"/>
            <a:ext cx="9358701" cy="26989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start from the high-temperature state       , and iteratively halve the temperature. We do the square using the MPO representation of the thermal states. Squaring MPOs implies squaring their bond dimension, too. This calls for a truncation scheme.</a:t>
            </a:r>
          </a:p>
        </p:txBody>
      </p:sp>
      <p:pic>
        <p:nvPicPr>
          <p:cNvPr id="14" name="Picture 13" descr="\documentclass{article}&#10;\usepackage{amsmath}&#10;\pagestyle{empty}&#10;\begin{document}&#10;&#10;$\rho_{\beta_0}$&#10;&#10;\end{document}" title="IguanaTex Picture Display">
            <a:extLst>
              <a:ext uri="{FF2B5EF4-FFF2-40B4-BE49-F238E27FC236}">
                <a16:creationId xmlns:a16="http://schemas.microsoft.com/office/drawing/2014/main" id="{D364E4A0-09FA-3132-3278-4BA3FE24BC0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429" y="3345518"/>
            <a:ext cx="315429" cy="184381"/>
          </a:xfrm>
          <a:prstGeom prst="rect">
            <a:avLst/>
          </a:prstGeom>
        </p:spPr>
      </p:pic>
      <p:sp>
        <p:nvSpPr>
          <p:cNvPr id="15" name="Untertitel 2 2">
            <a:extLst>
              <a:ext uri="{FF2B5EF4-FFF2-40B4-BE49-F238E27FC236}">
                <a16:creationId xmlns:a16="http://schemas.microsoft.com/office/drawing/2014/main" id="{513F6546-753F-4293-9D70-3FD95AAE0875}"/>
              </a:ext>
            </a:extLst>
          </p:cNvPr>
          <p:cNvSpPr txBox="1">
            <a:spLocks/>
          </p:cNvSpPr>
          <p:nvPr/>
        </p:nvSpPr>
        <p:spPr>
          <a:xfrm>
            <a:off x="621101" y="3185388"/>
            <a:ext cx="2409482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5346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72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/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222.7221"/>
  <p:tag name="OUTPUTTYPE" val="PNG"/>
  <p:tag name="IGUANATEXVERSION" val="162"/>
  <p:tag name="LATEXADDIN" val="\documentclass{article}&#10;\usepackage{amsmath}&#10;\pagestyle{empty}&#10;\begin{document}&#10;&#10;$\rho(\beta)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857.518"/>
  <p:tag name="OUTPUTTYPE" val="PNG"/>
  <p:tag name="IGUANATEXVERSION" val="162"/>
  <p:tag name="LATEXADDIN" val="\documentclass{article}&#10;\usepackage{amsmath}&#10;\pagestyle{empty}&#10;\begin{document}&#10;&#10;$\rho(2 \beta) = \text{e}^{-2 \beta \hat{H}} = (\text{e}^{- \beta \hat{H}})^2 = \rho(\beta)^2$&#10;&#10;&#10;\end{document}"/>
  <p:tag name="IGUANATEXSIZE" val="20"/>
  <p:tag name="IGUANATEXCURSOR" val="12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155.2306"/>
  <p:tag name="OUTPUTTYPE" val="PNG"/>
  <p:tag name="IGUANATEXVERSION" val="162"/>
  <p:tag name="LATEXADDIN" val="\documentclass{article}&#10;\usepackage{amsmath}&#10;\pagestyle{empty}&#10;\begin{document}&#10;&#10;$\rho_{\beta_0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6</Words>
  <Application>Microsoft Office PowerPoint</Application>
  <PresentationFormat>Widescreen</PresentationFormat>
  <Paragraphs>27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ptos</vt:lpstr>
      <vt:lpstr>Aptos Display</vt:lpstr>
      <vt:lpstr>Arial</vt:lpstr>
      <vt:lpstr>Bahnschrift SemiCondensed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hias Pawlik</dc:creator>
  <cp:lastModifiedBy>Matthias Pawlik</cp:lastModifiedBy>
  <cp:revision>13</cp:revision>
  <dcterms:created xsi:type="dcterms:W3CDTF">2025-06-15T15:29:23Z</dcterms:created>
  <dcterms:modified xsi:type="dcterms:W3CDTF">2025-07-09T07:30:32Z</dcterms:modified>
</cp:coreProperties>
</file>